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271" r:id="rId2"/>
    <p:sldId id="272" r:id="rId3"/>
    <p:sldId id="273" r:id="rId4"/>
    <p:sldId id="274" r:id="rId5"/>
    <p:sldId id="275" r:id="rId6"/>
    <p:sldId id="270" r:id="rId7"/>
  </p:sldIdLst>
  <p:sldSz cx="9144000" cy="5143500" type="screen16x9"/>
  <p:notesSz cx="6858000" cy="9144000"/>
  <p:defaultTextStyle>
    <a:defPPr>
      <a:defRPr lang=""/>
    </a:defPPr>
    <a:lvl1pPr algn="l" defTabSz="514350" rtl="0" eaLnBrk="0" fontAlgn="base" hangingPunct="0">
      <a:spcBef>
        <a:spcPct val="0"/>
      </a:spcBef>
      <a:spcAft>
        <a:spcPct val="0"/>
      </a:spcAft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257175" indent="85725" algn="l" defTabSz="514350" rtl="0" eaLnBrk="0" fontAlgn="base" hangingPunct="0">
      <a:spcBef>
        <a:spcPct val="0"/>
      </a:spcBef>
      <a:spcAft>
        <a:spcPct val="0"/>
      </a:spcAft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514350" indent="171450" algn="l" defTabSz="514350" rtl="0" eaLnBrk="0" fontAlgn="base" hangingPunct="0">
      <a:spcBef>
        <a:spcPct val="0"/>
      </a:spcBef>
      <a:spcAft>
        <a:spcPct val="0"/>
      </a:spcAft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771525" indent="257175" algn="l" defTabSz="514350" rtl="0" eaLnBrk="0" fontAlgn="base" hangingPunct="0">
      <a:spcBef>
        <a:spcPct val="0"/>
      </a:spcBef>
      <a:spcAft>
        <a:spcPct val="0"/>
      </a:spcAft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028700" indent="342900" algn="l" defTabSz="514350" rtl="0" eaLnBrk="0" fontAlgn="base" hangingPunct="0">
      <a:spcBef>
        <a:spcPct val="0"/>
      </a:spcBef>
      <a:spcAft>
        <a:spcPct val="0"/>
      </a:spcAft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057400" algn="l" defTabSz="685800" rtl="0" eaLnBrk="1" latinLnBrk="0" hangingPunct="1"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2400300" algn="l" defTabSz="685800" rtl="0" eaLnBrk="1" latinLnBrk="0" hangingPunct="1"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2743200" algn="l" defTabSz="685800" rtl="0" eaLnBrk="1" latinLnBrk="0" hangingPunct="1">
      <a:defRPr sz="975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18" autoAdjust="0"/>
    <p:restoredTop sz="94660"/>
  </p:normalViewPr>
  <p:slideViewPr>
    <p:cSldViewPr snapToGrid="0">
      <p:cViewPr varScale="1">
        <p:scale>
          <a:sx n="89" d="100"/>
          <a:sy n="89" d="100"/>
        </p:scale>
        <p:origin x="101" y="2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69A8E5-A0F7-49D2-B9B8-5FDCBBEBE4E0}" type="datetime1">
              <a:rPr lang="de-AT" smtClean="0"/>
              <a:t>25.07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6AAE9F-7528-4C85-88F2-F073225EF1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508933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929A2F-CDB5-4DBC-A4F1-B4C7DBADE50B}" type="datetime1">
              <a:rPr lang="de-AT" smtClean="0"/>
              <a:t>25.07.2023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E3E7B7-C719-4624-8BFD-444DCE553672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058862057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E3E7B7-C719-4624-8BFD-444DCE553672}" type="slidenum">
              <a:rPr lang="de-AT" smtClean="0"/>
              <a:t>1</a:t>
            </a:fld>
            <a:endParaRPr lang="de-AT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81E8141-6D0E-4D45-B74E-E42510206E7D}" type="datetime1">
              <a:rPr lang="de-AT" smtClean="0"/>
              <a:t>25.07.2023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466714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E3E7B7-C719-4624-8BFD-444DCE553672}" type="slidenum">
              <a:rPr lang="de-AT" smtClean="0"/>
              <a:t>6</a:t>
            </a:fld>
            <a:endParaRPr lang="de-AT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A674B25B-50D8-4FB1-8A1E-CACBA698BD71}" type="datetime1">
              <a:rPr lang="de-AT" smtClean="0"/>
              <a:t>25.07.2023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7208026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/Überschrift/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5656A527-2B30-4111-9C28-C0E1011C32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052" name="Objekt 2" hidden="1">
                        <a:extLst>
                          <a:ext uri="{FF2B5EF4-FFF2-40B4-BE49-F238E27FC236}">
                            <a16:creationId xmlns:a16="http://schemas.microsoft.com/office/drawing/2014/main" id="{956455E9-BFCF-4CE6-91C6-0364FDD371A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D70C3477-0B0C-4760-954C-DD19C657AD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11">
            <a:extLst>
              <a:ext uri="{FF2B5EF4-FFF2-40B4-BE49-F238E27FC236}">
                <a16:creationId xmlns:a16="http://schemas.microsoft.com/office/drawing/2014/main" id="{48158217-6590-42E2-A54F-BA82095E3B63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2412" y="4894660"/>
            <a:ext cx="1204913" cy="179784"/>
          </a:xfrm>
          <a:prstGeom prst="rect">
            <a:avLst/>
          </a:prstGeom>
        </p:spPr>
      </p:pic>
      <p:cxnSp>
        <p:nvCxnSpPr>
          <p:cNvPr id="8" name="Gerader Verbinder 12">
            <a:extLst>
              <a:ext uri="{FF2B5EF4-FFF2-40B4-BE49-F238E27FC236}">
                <a16:creationId xmlns:a16="http://schemas.microsoft.com/office/drawing/2014/main" id="{CD323FF4-CD85-47ED-88CE-1BF53C4A6228}"/>
              </a:ext>
            </a:extLst>
          </p:cNvPr>
          <p:cNvCxnSpPr>
            <a:cxnSpLocks/>
          </p:cNvCxnSpPr>
          <p:nvPr/>
        </p:nvCxnSpPr>
        <p:spPr>
          <a:xfrm>
            <a:off x="-1191" y="4824413"/>
            <a:ext cx="9144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1249" y="1062113"/>
            <a:ext cx="8640000" cy="3525759"/>
          </a:xfrm>
          <a:prstGeom prst="rect">
            <a:avLst/>
          </a:prstGeom>
        </p:spPr>
        <p:txBody>
          <a:bodyPr/>
          <a:lstStyle>
            <a:lvl1pPr marL="177796" indent="-177796">
              <a:buSzPct val="100000"/>
              <a:buFont typeface="Wingdings 2" panose="05020102010507070707" pitchFamily="18" charset="2"/>
              <a:buChar char=""/>
              <a:defRPr/>
            </a:lvl1pPr>
            <a:lvl2pPr marL="361941" indent="-195258">
              <a:buFont typeface="Arial" panose="020B0604020202020204" pitchFamily="34" charset="0"/>
              <a:buChar char="−"/>
              <a:defRPr/>
            </a:lvl2pPr>
            <a:lvl3pPr marL="538150" indent="-176209">
              <a:buFont typeface="Arial" panose="020B0604020202020204" pitchFamily="34" charset="0"/>
              <a:buChar char="−"/>
              <a:defRPr/>
            </a:lvl3pPr>
            <a:lvl4pPr marL="715945" indent="-177796">
              <a:buFont typeface="Arial" panose="020B0604020202020204" pitchFamily="34" charset="0"/>
              <a:buChar char="−"/>
              <a:defRPr/>
            </a:lvl4pPr>
            <a:lvl5pPr marL="900091" indent="-184145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4" name="Titelplatzhalter 1"/>
          <p:cNvSpPr>
            <a:spLocks noGrp="1"/>
          </p:cNvSpPr>
          <p:nvPr>
            <p:ph type="title"/>
          </p:nvPr>
        </p:nvSpPr>
        <p:spPr>
          <a:xfrm>
            <a:off x="250827" y="446399"/>
            <a:ext cx="8640000" cy="5436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5"/>
          </p:nvPr>
        </p:nvSpPr>
        <p:spPr>
          <a:xfrm>
            <a:off x="251250" y="4644000"/>
            <a:ext cx="8640000" cy="144000"/>
          </a:xfrm>
          <a:prstGeom prst="rect">
            <a:avLst/>
          </a:prstGeom>
        </p:spPr>
        <p:txBody>
          <a:bodyPr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331185" algn="l"/>
                <a:tab pos="662371" algn="l"/>
                <a:tab pos="993557" algn="l"/>
              </a:tabLst>
              <a:defRPr sz="800"/>
            </a:lvl1pPr>
            <a:lvl2pPr marL="165593" indent="0">
              <a:buFontTx/>
              <a:buNone/>
              <a:defRPr sz="1108"/>
            </a:lvl2pPr>
            <a:lvl3pPr marL="331185" indent="0">
              <a:buFontTx/>
              <a:buNone/>
              <a:defRPr sz="1108"/>
            </a:lvl3pPr>
            <a:lvl4pPr marL="512897" indent="0">
              <a:buFontTx/>
              <a:buNone/>
              <a:defRPr sz="1108"/>
            </a:lvl4pPr>
            <a:lvl5pPr marL="662371" indent="0">
              <a:buFontTx/>
              <a:buNone/>
              <a:defRPr sz="1108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Fußzeilenplatzhalter 5">
            <a:extLst>
              <a:ext uri="{FF2B5EF4-FFF2-40B4-BE49-F238E27FC236}">
                <a16:creationId xmlns:a16="http://schemas.microsoft.com/office/drawing/2014/main" id="{137E8084-8D01-404A-8AA2-B4B40C5FFE4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Foliennummernplatzhalter 6">
            <a:extLst>
              <a:ext uri="{FF2B5EF4-FFF2-40B4-BE49-F238E27FC236}">
                <a16:creationId xmlns:a16="http://schemas.microsoft.com/office/drawing/2014/main" id="{7EDB2C02-A910-42F0-9D48-6C58CDD825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r">
              <a:defRPr sz="8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8F519ED2-F5DD-40B5-9F31-1C4621BFF08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461287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S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BF4E9448-A887-4283-B3F3-1537346EF9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1268" name="Objekt 2" hidden="1">
                        <a:extLst>
                          <a:ext uri="{FF2B5EF4-FFF2-40B4-BE49-F238E27FC236}">
                            <a16:creationId xmlns:a16="http://schemas.microsoft.com/office/drawing/2014/main" id="{2652C933-255A-47A8-BE1B-FF3D7CF62F3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36F7E201-107D-40EF-9130-23141C2588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DA120891-C265-47ED-87DF-3AB7F91E5A0D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88"/>
          <a:stretch>
            <a:fillRect/>
          </a:stretch>
        </p:blipFill>
        <p:spPr bwMode="auto">
          <a:xfrm>
            <a:off x="4748212" y="1202531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B1A2499-A3E1-4ADD-B090-AA4E8455005A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7C7A3C95-27E2-4C63-877D-57D4B59AAF38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90452DA4-2CDC-482B-821D-50E0081CD313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3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6730026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S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E9C00B36-372D-4660-AFDE-53107BC09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2292" name="Objekt 2" hidden="1">
                        <a:extLst>
                          <a:ext uri="{FF2B5EF4-FFF2-40B4-BE49-F238E27FC236}">
                            <a16:creationId xmlns:a16="http://schemas.microsoft.com/office/drawing/2014/main" id="{C0906D1D-E626-41A5-A373-9F4A8B5573F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845A2C83-401C-4E7D-ABF6-95172A9B86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406EBB41-C721-44B9-BF9C-36CCC17AE992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7DB44EE5-B94B-426F-A079-14F239FED86B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Bildplatzhalter 12">
            <a:extLst>
              <a:ext uri="{FF2B5EF4-FFF2-40B4-BE49-F238E27FC236}">
                <a16:creationId xmlns:a16="http://schemas.microsoft.com/office/drawing/2014/main" id="{8D00EA23-2E30-4CBC-BF89-EF67E18DC788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0" r="2960"/>
          <a:stretch>
            <a:fillRect/>
          </a:stretch>
        </p:blipFill>
        <p:spPr bwMode="auto">
          <a:xfrm>
            <a:off x="4750594" y="1203722"/>
            <a:ext cx="3801666" cy="269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DBBD4B96-56D8-40C5-A515-FF811BFD1FFD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4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257923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S_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B21412B1-F5B2-498B-A387-B40E9F737C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3316" name="Objekt 2" hidden="1">
                        <a:extLst>
                          <a:ext uri="{FF2B5EF4-FFF2-40B4-BE49-F238E27FC236}">
                            <a16:creationId xmlns:a16="http://schemas.microsoft.com/office/drawing/2014/main" id="{9197865D-8DA2-4E9D-BA44-19BD69F1D3E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EBA951DF-3438-4087-867F-9527F02C72F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CD05F6F7-6727-4ED8-AE49-0D7909B67707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067DA33F-D130-44F0-B1EA-59CC8EE5374F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9">
            <a:extLst>
              <a:ext uri="{FF2B5EF4-FFF2-40B4-BE49-F238E27FC236}">
                <a16:creationId xmlns:a16="http://schemas.microsoft.com/office/drawing/2014/main" id="{99822361-9CDD-42BA-99DA-3A132A5C16B2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15"/>
          <a:stretch>
            <a:fillRect/>
          </a:stretch>
        </p:blipFill>
        <p:spPr bwMode="auto">
          <a:xfrm>
            <a:off x="4748212" y="1198960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7DEA33EB-B9F1-4675-A808-8662506A9357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4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2706540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VS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36C48D2C-2E1C-4F0E-82CC-D57A354625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4340" name="Objekt 2" hidden="1">
                        <a:extLst>
                          <a:ext uri="{FF2B5EF4-FFF2-40B4-BE49-F238E27FC236}">
                            <a16:creationId xmlns:a16="http://schemas.microsoft.com/office/drawing/2014/main" id="{FCE81529-BE87-4890-A606-66475AE2A5A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D4792879-6178-485F-AFD3-6B64423A61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E8F39500-2331-4F0E-AABF-D34214A30768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18E5ADB9-D9E1-46C3-A26C-17E5F63F4552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Bildplatzhalter 7">
            <a:extLst>
              <a:ext uri="{FF2B5EF4-FFF2-40B4-BE49-F238E27FC236}">
                <a16:creationId xmlns:a16="http://schemas.microsoft.com/office/drawing/2014/main" id="{BEBAEC11-B9BF-48B6-8E6C-36EEABAF4FE5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4" r="3024"/>
          <a:stretch>
            <a:fillRect/>
          </a:stretch>
        </p:blipFill>
        <p:spPr bwMode="auto">
          <a:xfrm>
            <a:off x="4750594" y="1198960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0BA379EE-9378-4F87-A329-03161EA1E0FB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4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5611502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VS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90B7B609-B4E9-43E8-B376-6F34B4F94C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5364" name="Objekt 2" hidden="1">
                        <a:extLst>
                          <a:ext uri="{FF2B5EF4-FFF2-40B4-BE49-F238E27FC236}">
                            <a16:creationId xmlns:a16="http://schemas.microsoft.com/office/drawing/2014/main" id="{AE654E1C-ACD8-4B37-BB79-05C042A5C68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9A687323-8DF7-43E0-97BD-9DEEDE0468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F9D11B50-521E-4889-8FEE-B16DB5188173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C15D2EC9-3886-4719-8744-3BAB2AB6C0CF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F53A8724-90E0-48A7-B080-73D4891B8D65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2" r="2982"/>
          <a:stretch>
            <a:fillRect/>
          </a:stretch>
        </p:blipFill>
        <p:spPr bwMode="auto">
          <a:xfrm>
            <a:off x="4748212" y="1203722"/>
            <a:ext cx="3805238" cy="2713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6945C22B-7F65-4CE9-B514-4A30DE44DB46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4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1762795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VS_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A36E9FCB-B0A4-404A-AA61-FEAB7AD9A3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6388" name="Objekt 2" hidden="1">
                        <a:extLst>
                          <a:ext uri="{FF2B5EF4-FFF2-40B4-BE49-F238E27FC236}">
                            <a16:creationId xmlns:a16="http://schemas.microsoft.com/office/drawing/2014/main" id="{94945CD3-FABF-4A83-AEA8-A326DBE9B48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F538C7FB-3766-4BE7-A2E1-EAEDAADE9B3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E670F4AF-FA89-494B-8BED-95E934190C16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5E3E3196-7A1B-4C8E-8A15-97ACE3BA5B38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Bildplatzhalter 7">
            <a:extLst>
              <a:ext uri="{FF2B5EF4-FFF2-40B4-BE49-F238E27FC236}">
                <a16:creationId xmlns:a16="http://schemas.microsoft.com/office/drawing/2014/main" id="{4F78A281-5F0A-4E14-9824-919BC737CAB8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0" r="2960"/>
          <a:stretch>
            <a:fillRect/>
          </a:stretch>
        </p:blipFill>
        <p:spPr bwMode="auto">
          <a:xfrm>
            <a:off x="4748212" y="1203722"/>
            <a:ext cx="3805238" cy="2713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EB03B8CB-1AC3-4738-958E-1777EB7FA004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4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4709049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T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20CEA985-F275-4222-8DBB-FDE4A705F1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7412" name="Objekt 2" hidden="1">
                        <a:extLst>
                          <a:ext uri="{FF2B5EF4-FFF2-40B4-BE49-F238E27FC236}">
                            <a16:creationId xmlns:a16="http://schemas.microsoft.com/office/drawing/2014/main" id="{AFCB41F2-F0C5-4644-B4C6-89A4E01E28E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E09B7CB4-030C-4C6E-9F48-5391025509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7">
            <a:extLst>
              <a:ext uri="{FF2B5EF4-FFF2-40B4-BE49-F238E27FC236}">
                <a16:creationId xmlns:a16="http://schemas.microsoft.com/office/drawing/2014/main" id="{D619092B-8E84-4F74-AFD1-0F9399BCB361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FF468840-F4C8-4D92-9A79-3BA3616C7C94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3">
            <a:extLst>
              <a:ext uri="{FF2B5EF4-FFF2-40B4-BE49-F238E27FC236}">
                <a16:creationId xmlns:a16="http://schemas.microsoft.com/office/drawing/2014/main" id="{F9418777-EC4F-4A84-8B7E-E346DC08DB37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84"/>
          <a:stretch>
            <a:fillRect/>
          </a:stretch>
        </p:blipFill>
        <p:spPr bwMode="auto">
          <a:xfrm>
            <a:off x="4748212" y="1202531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4">
            <a:extLst>
              <a:ext uri="{FF2B5EF4-FFF2-40B4-BE49-F238E27FC236}">
                <a16:creationId xmlns:a16="http://schemas.microsoft.com/office/drawing/2014/main" id="{FBA4811D-1973-4605-8564-3A3815A6C613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1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>
            <a:noAutofit/>
          </a:bodyPr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1823916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E18FD8-7180-4DB9-B5DE-1769E2537F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13">
                <a:latin typeface="+mn-lt"/>
              </a:defRPr>
            </a:lvl1pPr>
          </a:lstStyle>
          <a:p>
            <a:pPr>
              <a:defRPr/>
            </a:pPr>
            <a:fld id="{8D1F24C4-C0B3-4B39-BF3E-C350AA21B402}" type="datetime2">
              <a:rPr lang="de-AT" smtClean="0"/>
              <a:t>Dienstag, 25. Juli 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25478C-B88C-4B55-BBEA-6BBB5E371C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67F37E-B039-4F2D-8CDB-B7E7CD97C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2D796-47BA-435D-B07F-ECAF072150B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91542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/Überschrift/Inhalt/Subline/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2" hidden="1">
            <a:extLst>
              <a:ext uri="{FF2B5EF4-FFF2-40B4-BE49-F238E27FC236}">
                <a16:creationId xmlns:a16="http://schemas.microsoft.com/office/drawing/2014/main" id="{75238A7B-97A1-48D3-89B4-655477B751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076" name="Objekt 2" hidden="1">
                        <a:extLst>
                          <a:ext uri="{FF2B5EF4-FFF2-40B4-BE49-F238E27FC236}">
                            <a16:creationId xmlns:a16="http://schemas.microsoft.com/office/drawing/2014/main" id="{37ECB5D4-BAD7-4657-A5D2-9FA2C7E2405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" hidden="1">
            <a:extLst>
              <a:ext uri="{FF2B5EF4-FFF2-40B4-BE49-F238E27FC236}">
                <a16:creationId xmlns:a16="http://schemas.microsoft.com/office/drawing/2014/main" id="{43B83A7C-32A6-4859-ABDF-18A5F56B57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Grafik 14">
            <a:extLst>
              <a:ext uri="{FF2B5EF4-FFF2-40B4-BE49-F238E27FC236}">
                <a16:creationId xmlns:a16="http://schemas.microsoft.com/office/drawing/2014/main" id="{9971C8C8-C274-4E46-99D6-399FBAB17DAC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2412" y="4894660"/>
            <a:ext cx="1204913" cy="179784"/>
          </a:xfrm>
          <a:prstGeom prst="rect">
            <a:avLst/>
          </a:prstGeom>
        </p:spPr>
      </p:pic>
      <p:cxnSp>
        <p:nvCxnSpPr>
          <p:cNvPr id="11" name="Gerader Verbinder 16">
            <a:extLst>
              <a:ext uri="{FF2B5EF4-FFF2-40B4-BE49-F238E27FC236}">
                <a16:creationId xmlns:a16="http://schemas.microsoft.com/office/drawing/2014/main" id="{6A34AE00-07BE-45BD-B149-13E72CC08E9B}"/>
              </a:ext>
            </a:extLst>
          </p:cNvPr>
          <p:cNvCxnSpPr>
            <a:cxnSpLocks/>
          </p:cNvCxnSpPr>
          <p:nvPr/>
        </p:nvCxnSpPr>
        <p:spPr>
          <a:xfrm>
            <a:off x="-1191" y="4824413"/>
            <a:ext cx="9144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253175" y="4644000"/>
            <a:ext cx="8640000" cy="144000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800"/>
            </a:lvl1pPr>
            <a:lvl2pPr marL="165593" indent="0">
              <a:buFontTx/>
              <a:buNone/>
              <a:defRPr sz="1108"/>
            </a:lvl2pPr>
            <a:lvl3pPr marL="331185" indent="0">
              <a:buFontTx/>
              <a:buNone/>
              <a:defRPr sz="1108"/>
            </a:lvl3pPr>
            <a:lvl4pPr marL="512897" indent="0">
              <a:buFontTx/>
              <a:buNone/>
              <a:defRPr sz="1108"/>
            </a:lvl4pPr>
            <a:lvl5pPr marL="662371" indent="0">
              <a:buFontTx/>
              <a:buNone/>
              <a:defRPr sz="1108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252000" y="1062113"/>
            <a:ext cx="8640000" cy="266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Clr>
                <a:srgbClr val="00457E"/>
              </a:buClr>
              <a:buFont typeface="Arial" panose="020B0604020202020204" pitchFamily="34" charset="0"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250825" y="446399"/>
            <a:ext cx="8640000" cy="276999"/>
          </a:xfrm>
          <a:prstGeom prst="rect">
            <a:avLst/>
          </a:prstGeom>
        </p:spPr>
        <p:txBody>
          <a:bodyPr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2000" y="122400"/>
            <a:ext cx="8640000" cy="2016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84408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57E"/>
              </a:buClr>
              <a:buSzPct val="100000"/>
              <a:buFont typeface="Wingdings 2" panose="05020102010507070707" pitchFamily="18" charset="2"/>
              <a:buNone/>
              <a:tabLst/>
              <a:defRPr sz="1000"/>
            </a:lvl1pPr>
            <a:lvl2pPr marL="361941" indent="-195258">
              <a:buFont typeface="Arial" panose="020B0604020202020204" pitchFamily="34" charset="0"/>
              <a:buChar char="−"/>
              <a:defRPr/>
            </a:lvl2pPr>
            <a:lvl3pPr marL="538150" indent="-176209">
              <a:buFont typeface="Arial" panose="020B0604020202020204" pitchFamily="34" charset="0"/>
              <a:buChar char="−"/>
              <a:defRPr/>
            </a:lvl3pPr>
            <a:lvl4pPr marL="715945" indent="-177796">
              <a:buFont typeface="Arial" panose="020B0604020202020204" pitchFamily="34" charset="0"/>
              <a:buChar char="−"/>
              <a:defRPr/>
            </a:lvl4pPr>
            <a:lvl5pPr marL="900091" indent="-184145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253175" y="1402558"/>
            <a:ext cx="8640000" cy="3185317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>
              <a:defRPr lang="en-GB" dirty="0" smtClean="0"/>
            </a:lvl1pPr>
            <a:lvl2pPr>
              <a:defRPr lang="en-GB" dirty="0" smtClean="0"/>
            </a:lvl2pPr>
            <a:lvl3pPr>
              <a:defRPr lang="en-GB" dirty="0" smtClean="0"/>
            </a:lvl3pPr>
            <a:lvl4pPr>
              <a:defRPr lang="en-GB" dirty="0" smtClean="0"/>
            </a:lvl4pPr>
            <a:lvl5pPr>
              <a:defRPr lang="de-DE" dirty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Fußzeilenplatzhalter 5">
            <a:extLst>
              <a:ext uri="{FF2B5EF4-FFF2-40B4-BE49-F238E27FC236}">
                <a16:creationId xmlns:a16="http://schemas.microsoft.com/office/drawing/2014/main" id="{56FBFDD5-5CA9-4149-95E2-1CDD046814D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5" name="Foliennummernplatzhalter 6">
            <a:extLst>
              <a:ext uri="{FF2B5EF4-FFF2-40B4-BE49-F238E27FC236}">
                <a16:creationId xmlns:a16="http://schemas.microsoft.com/office/drawing/2014/main" id="{C257486D-0554-4733-BED0-1B310D253DE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r">
              <a:defRPr sz="8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971D3A8E-87F7-409E-BB9F-2A0FEDA3E37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5690474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/Subline/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8B4314E8-75ED-49D8-AC5A-F4E0073A71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100" name="Objekt 2" hidden="1">
                        <a:extLst>
                          <a:ext uri="{FF2B5EF4-FFF2-40B4-BE49-F238E27FC236}">
                            <a16:creationId xmlns:a16="http://schemas.microsoft.com/office/drawing/2014/main" id="{11FFED53-34B5-4B24-AD75-FF8D3CA63C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3C85260A-F296-4F97-A6E4-A55AFB3E13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EA114EF-9691-4EE5-B934-EAA11369A426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2412" y="4894660"/>
            <a:ext cx="1204913" cy="179784"/>
          </a:xfrm>
          <a:prstGeom prst="rect">
            <a:avLst/>
          </a:prstGeo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C9DD004-F132-447F-B9E5-A158C5B36F84}"/>
              </a:ext>
            </a:extLst>
          </p:cNvPr>
          <p:cNvCxnSpPr>
            <a:cxnSpLocks/>
          </p:cNvCxnSpPr>
          <p:nvPr/>
        </p:nvCxnSpPr>
        <p:spPr>
          <a:xfrm>
            <a:off x="-1191" y="4824413"/>
            <a:ext cx="9144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platzhalter 1"/>
          <p:cNvSpPr>
            <a:spLocks noGrp="1"/>
          </p:cNvSpPr>
          <p:nvPr>
            <p:ph type="title"/>
          </p:nvPr>
        </p:nvSpPr>
        <p:spPr>
          <a:xfrm>
            <a:off x="250826" y="446399"/>
            <a:ext cx="8640000" cy="5436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251249" y="4644000"/>
            <a:ext cx="8640000" cy="1440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 typeface="Arial" panose="020B0604020202020204" pitchFamily="34" charset="0"/>
              <a:buNone/>
              <a:tabLst>
                <a:tab pos="331185" algn="l"/>
                <a:tab pos="662371" algn="l"/>
                <a:tab pos="993557" algn="l"/>
              </a:tabLst>
              <a:defRPr sz="800"/>
            </a:lvl1pPr>
            <a:lvl2pPr marL="165593" indent="0">
              <a:buFontTx/>
              <a:buNone/>
              <a:defRPr sz="1108"/>
            </a:lvl2pPr>
            <a:lvl3pPr marL="331185" indent="0">
              <a:buFontTx/>
              <a:buNone/>
              <a:defRPr sz="1108"/>
            </a:lvl3pPr>
            <a:lvl4pPr marL="512897" indent="0">
              <a:buFontTx/>
              <a:buNone/>
              <a:defRPr sz="1108"/>
            </a:lvl4pPr>
            <a:lvl5pPr marL="662371" indent="0">
              <a:buFontTx/>
              <a:buNone/>
              <a:defRPr sz="1108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252000" y="122400"/>
            <a:ext cx="8640000" cy="201600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84408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57E"/>
              </a:buClr>
              <a:buSzPct val="100000"/>
              <a:buFont typeface="Wingdings 2" panose="05020102010507070707" pitchFamily="18" charset="2"/>
              <a:buNone/>
              <a:tabLst/>
              <a:defRPr sz="1000"/>
            </a:lvl1pPr>
            <a:lvl2pPr marL="361941" indent="-195258">
              <a:buFont typeface="Arial" panose="020B0604020202020204" pitchFamily="34" charset="0"/>
              <a:buChar char="−"/>
              <a:defRPr/>
            </a:lvl2pPr>
            <a:lvl3pPr marL="538150" indent="-176209">
              <a:buFont typeface="Arial" panose="020B0604020202020204" pitchFamily="34" charset="0"/>
              <a:buChar char="−"/>
              <a:defRPr/>
            </a:lvl3pPr>
            <a:lvl4pPr marL="715945" indent="-177796">
              <a:buFont typeface="Arial" panose="020B0604020202020204" pitchFamily="34" charset="0"/>
              <a:buChar char="−"/>
              <a:defRPr/>
            </a:lvl4pPr>
            <a:lvl5pPr marL="900091" indent="-184145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 5">
            <a:extLst>
              <a:ext uri="{FF2B5EF4-FFF2-40B4-BE49-F238E27FC236}">
                <a16:creationId xmlns:a16="http://schemas.microsoft.com/office/drawing/2014/main" id="{D3DD3D7A-639A-41F2-A249-26202E91D38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ABD6883A-E21B-4C4F-9F17-546DA9ABEDA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r">
              <a:defRPr sz="8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2430D689-9560-430F-9E23-C62FD9C1C15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2629884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/Überschrift kombiniert Inhalt/Subline/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2" hidden="1">
            <a:extLst>
              <a:ext uri="{FF2B5EF4-FFF2-40B4-BE49-F238E27FC236}">
                <a16:creationId xmlns:a16="http://schemas.microsoft.com/office/drawing/2014/main" id="{41CCA35A-E25D-4E8F-B6F1-7A0142503F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124" name="Objekt 2" hidden="1">
                        <a:extLst>
                          <a:ext uri="{FF2B5EF4-FFF2-40B4-BE49-F238E27FC236}">
                            <a16:creationId xmlns:a16="http://schemas.microsoft.com/office/drawing/2014/main" id="{A740757E-C323-4F57-9767-2C8262F0257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1" hidden="1">
            <a:extLst>
              <a:ext uri="{FF2B5EF4-FFF2-40B4-BE49-F238E27FC236}">
                <a16:creationId xmlns:a16="http://schemas.microsoft.com/office/drawing/2014/main" id="{0772AD59-1000-47F1-9AC3-03846DA65A8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ECC4E681-51B9-412A-B864-77663C2F7E07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2412" y="4894660"/>
            <a:ext cx="1204913" cy="179784"/>
          </a:xfrm>
          <a:prstGeom prst="rect">
            <a:avLst/>
          </a:prstGeom>
        </p:spPr>
      </p:pic>
      <p:cxnSp>
        <p:nvCxnSpPr>
          <p:cNvPr id="9" name="Gerader Verbinder 12">
            <a:extLst>
              <a:ext uri="{FF2B5EF4-FFF2-40B4-BE49-F238E27FC236}">
                <a16:creationId xmlns:a16="http://schemas.microsoft.com/office/drawing/2014/main" id="{41845419-68FC-4FB1-8D87-3C1C8782917E}"/>
              </a:ext>
            </a:extLst>
          </p:cNvPr>
          <p:cNvCxnSpPr>
            <a:cxnSpLocks/>
          </p:cNvCxnSpPr>
          <p:nvPr/>
        </p:nvCxnSpPr>
        <p:spPr>
          <a:xfrm>
            <a:off x="-1191" y="4824413"/>
            <a:ext cx="9144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253175" y="122400"/>
            <a:ext cx="8640000" cy="2016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 typeface="Arial" panose="020B0604020202020204" pitchFamily="34" charset="0"/>
              <a:buNone/>
              <a:tabLst>
                <a:tab pos="331185" algn="l"/>
                <a:tab pos="662371" algn="l"/>
                <a:tab pos="993557" algn="l"/>
              </a:tabLst>
              <a:defRPr sz="1000"/>
            </a:lvl1pPr>
            <a:lvl2pPr marL="165593" indent="0">
              <a:buFontTx/>
              <a:buNone/>
              <a:defRPr sz="1108"/>
            </a:lvl2pPr>
            <a:lvl3pPr marL="331185" indent="0">
              <a:buFontTx/>
              <a:buNone/>
              <a:defRPr sz="1108"/>
            </a:lvl3pPr>
            <a:lvl4pPr marL="512897" indent="0">
              <a:buFontTx/>
              <a:buNone/>
              <a:defRPr sz="1108"/>
            </a:lvl4pPr>
            <a:lvl5pPr marL="662371" indent="0">
              <a:buFontTx/>
              <a:buNone/>
              <a:defRPr sz="1108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251249" y="1062113"/>
            <a:ext cx="8640000" cy="3525759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indent="0">
              <a:buNone/>
              <a:defRPr lang="en-GB" b="1" dirty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  <a:lvl3pPr marL="179384" indent="-179384">
              <a:buClr>
                <a:schemeClr val="tx2"/>
              </a:buClr>
              <a:buFont typeface="Wingdings 2" panose="05020102010507070707" pitchFamily="18" charset="2"/>
              <a:buChar char="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354" indent="-180971">
              <a:buFont typeface="Arial" panose="020B0604020202020204" pitchFamily="34" charset="0"/>
              <a:buChar char="−"/>
              <a:defRPr/>
            </a:lvl4pPr>
            <a:lvl5pPr marL="539737" indent="-179384"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itelplatzhalter 1"/>
          <p:cNvSpPr>
            <a:spLocks noGrp="1"/>
          </p:cNvSpPr>
          <p:nvPr>
            <p:ph type="title"/>
          </p:nvPr>
        </p:nvSpPr>
        <p:spPr>
          <a:xfrm>
            <a:off x="250825" y="446399"/>
            <a:ext cx="8640000" cy="276999"/>
          </a:xfrm>
          <a:prstGeom prst="rect">
            <a:avLst/>
          </a:prstGeom>
        </p:spPr>
        <p:txBody>
          <a:bodyPr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252001" y="4644000"/>
            <a:ext cx="8641175" cy="144000"/>
          </a:xfrm>
          <a:prstGeom prst="rect">
            <a:avLst/>
          </a:prstGeom>
        </p:spPr>
        <p:txBody>
          <a:bodyPr wrap="square" anchor="ctr" anchorCtr="0"/>
          <a:lstStyle>
            <a:lvl1pPr marL="0" marR="0" indent="0" algn="l" defTabSz="84408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57E"/>
              </a:buClr>
              <a:buSzPct val="115000"/>
              <a:buFont typeface="Wingdings 2" panose="05020102010507070707" pitchFamily="18" charset="2"/>
              <a:buNone/>
              <a:tabLst/>
              <a:defRPr sz="800" b="0">
                <a:solidFill>
                  <a:schemeClr val="tx1"/>
                </a:solidFill>
              </a:defRPr>
            </a:lvl1pPr>
            <a:lvl2pPr marL="0" indent="0">
              <a:spcBef>
                <a:spcPts val="300"/>
              </a:spcBef>
              <a:buNone/>
              <a:defRPr sz="1400"/>
            </a:lvl2pPr>
            <a:lvl3pPr marL="174621" indent="-166684">
              <a:spcBef>
                <a:spcPts val="300"/>
              </a:spcBef>
              <a:buClr>
                <a:srgbClr val="00457E"/>
              </a:buClr>
              <a:buFont typeface="Wingdings 2" panose="05020102010507070707" pitchFamily="18" charset="2"/>
              <a:buChar char=""/>
              <a:defRPr sz="1400"/>
            </a:lvl3pPr>
            <a:lvl4pPr marL="446077" indent="-239707">
              <a:spcBef>
                <a:spcPts val="300"/>
              </a:spcBef>
              <a:buFont typeface="Arial" panose="020B0604020202020204" pitchFamily="34" charset="0"/>
              <a:buChar char="−"/>
              <a:defRPr sz="1400"/>
            </a:lvl4pPr>
            <a:lvl5pPr marL="623873" indent="-177796">
              <a:spcBef>
                <a:spcPts val="300"/>
              </a:spcBef>
              <a:buFont typeface="Arial" panose="020B0604020202020204" pitchFamily="34" charset="0"/>
              <a:buChar char="−"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Fußzeilenplatzhalter 5">
            <a:extLst>
              <a:ext uri="{FF2B5EF4-FFF2-40B4-BE49-F238E27FC236}">
                <a16:creationId xmlns:a16="http://schemas.microsoft.com/office/drawing/2014/main" id="{397F554E-E12D-4542-B964-932EED387BB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728B2B55-1ECE-4AB9-8DF9-7B3611D5B2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 sz="8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C93A48CA-DB42-40D3-88A7-D5D561A54B9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982153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2" hidden="1">
            <a:extLst>
              <a:ext uri="{FF2B5EF4-FFF2-40B4-BE49-F238E27FC236}">
                <a16:creationId xmlns:a16="http://schemas.microsoft.com/office/drawing/2014/main" id="{E675F6D3-CA6F-4819-996D-4A6C5EEFF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148" name="Objekt 2" hidden="1">
                        <a:extLst>
                          <a:ext uri="{FF2B5EF4-FFF2-40B4-BE49-F238E27FC236}">
                            <a16:creationId xmlns:a16="http://schemas.microsoft.com/office/drawing/2014/main" id="{0221773A-09FA-4FCC-A01D-4FFEFAB79E1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1" hidden="1">
            <a:extLst>
              <a:ext uri="{FF2B5EF4-FFF2-40B4-BE49-F238E27FC236}">
                <a16:creationId xmlns:a16="http://schemas.microsoft.com/office/drawing/2014/main" id="{AF32F679-2783-45BF-82CD-4671E3DBB4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Grafik 6">
            <a:extLst>
              <a:ext uri="{FF2B5EF4-FFF2-40B4-BE49-F238E27FC236}">
                <a16:creationId xmlns:a16="http://schemas.microsoft.com/office/drawing/2014/main" id="{D683423B-1815-45E6-9578-EA98605142F9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8" y="1078706"/>
            <a:ext cx="405288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7">
            <a:extLst>
              <a:ext uri="{FF2B5EF4-FFF2-40B4-BE49-F238E27FC236}">
                <a16:creationId xmlns:a16="http://schemas.microsoft.com/office/drawing/2014/main" id="{62A2156A-6F6D-4B46-9B97-6598AE8545ED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1AEA679-9C77-4C77-B612-6FBBFE7A7E80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1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1"/>
          </p:nvPr>
        </p:nvSpPr>
        <p:spPr>
          <a:xfrm>
            <a:off x="4750327" y="1203325"/>
            <a:ext cx="3801600" cy="269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96258201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B_Titl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72ECDB74-827A-4A87-90F0-F32BB8EC2F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172" name="Objekt 2" hidden="1">
                        <a:extLst>
                          <a:ext uri="{FF2B5EF4-FFF2-40B4-BE49-F238E27FC236}">
                            <a16:creationId xmlns:a16="http://schemas.microsoft.com/office/drawing/2014/main" id="{D68A2AB9-C469-4DA6-8130-7BD77AAC29A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0ED6BF3F-3BA3-45D0-859E-4A2EC1DCCD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12">
            <a:extLst>
              <a:ext uri="{FF2B5EF4-FFF2-40B4-BE49-F238E27FC236}">
                <a16:creationId xmlns:a16="http://schemas.microsoft.com/office/drawing/2014/main" id="{173DEAD9-3016-4AFB-BFDA-2BF941B17EE3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/>
          <a:stretch>
            <a:fillRect/>
          </a:stretch>
        </p:blipFill>
        <p:spPr bwMode="auto">
          <a:xfrm>
            <a:off x="4748212" y="1198960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0EB11CD5-3D0F-43AC-9B62-D89D034B55DF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1">
            <a:extLst>
              <a:ext uri="{FF2B5EF4-FFF2-40B4-BE49-F238E27FC236}">
                <a16:creationId xmlns:a16="http://schemas.microsoft.com/office/drawing/2014/main" id="{35D575F7-6EB9-4E91-8A50-49B6C2B64413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3">
            <a:extLst>
              <a:ext uri="{FF2B5EF4-FFF2-40B4-BE49-F238E27FC236}">
                <a16:creationId xmlns:a16="http://schemas.microsoft.com/office/drawing/2014/main" id="{C06F6F96-A047-432B-BD11-2FF815E1468C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1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7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9180732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B_Titl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86FEA85C-6BF2-4FA8-9763-AD0416A0DD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196" name="Objekt 2" hidden="1">
                        <a:extLst>
                          <a:ext uri="{FF2B5EF4-FFF2-40B4-BE49-F238E27FC236}">
                            <a16:creationId xmlns:a16="http://schemas.microsoft.com/office/drawing/2014/main" id="{9BBC70EC-D9CF-4247-BAC2-B0A8B3BC520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E9D771A4-BA1E-491B-A5FC-140A15B2B6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77E2F24A-052C-4C6E-BA3D-EA1AC52A0801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6"/>
          <a:stretch>
            <a:fillRect/>
          </a:stretch>
        </p:blipFill>
        <p:spPr bwMode="auto">
          <a:xfrm>
            <a:off x="4748212" y="1198960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1">
            <a:extLst>
              <a:ext uri="{FF2B5EF4-FFF2-40B4-BE49-F238E27FC236}">
                <a16:creationId xmlns:a16="http://schemas.microsoft.com/office/drawing/2014/main" id="{C60DFA74-2495-4FDA-B96C-5A8DBBA3C4D8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4">
            <a:extLst>
              <a:ext uri="{FF2B5EF4-FFF2-40B4-BE49-F238E27FC236}">
                <a16:creationId xmlns:a16="http://schemas.microsoft.com/office/drawing/2014/main" id="{4A07E798-C81C-4075-9923-72629B20E133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2">
            <a:extLst>
              <a:ext uri="{FF2B5EF4-FFF2-40B4-BE49-F238E27FC236}">
                <a16:creationId xmlns:a16="http://schemas.microsoft.com/office/drawing/2014/main" id="{F8152062-76E4-4066-BD44-857EF5CC79BB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1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3945430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B_Title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634B2F15-2797-40AF-86AA-BF4085C625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220" name="Objekt 2" hidden="1">
                        <a:extLst>
                          <a:ext uri="{FF2B5EF4-FFF2-40B4-BE49-F238E27FC236}">
                            <a16:creationId xmlns:a16="http://schemas.microsoft.com/office/drawing/2014/main" id="{9EE7EC42-3D38-446B-8858-4A28963457D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ACFA3C5C-95BD-4ED0-943F-B3D1C910B3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8">
            <a:extLst>
              <a:ext uri="{FF2B5EF4-FFF2-40B4-BE49-F238E27FC236}">
                <a16:creationId xmlns:a16="http://schemas.microsoft.com/office/drawing/2014/main" id="{2A491152-0C0B-4B63-9EB5-FFCE28009F3E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52" t="5350"/>
          <a:stretch>
            <a:fillRect/>
          </a:stretch>
        </p:blipFill>
        <p:spPr bwMode="auto">
          <a:xfrm>
            <a:off x="4748212" y="1198960"/>
            <a:ext cx="3805238" cy="271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1">
            <a:extLst>
              <a:ext uri="{FF2B5EF4-FFF2-40B4-BE49-F238E27FC236}">
                <a16:creationId xmlns:a16="http://schemas.microsoft.com/office/drawing/2014/main" id="{D04A4297-C863-4894-A668-B755C35C875A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4">
            <a:extLst>
              <a:ext uri="{FF2B5EF4-FFF2-40B4-BE49-F238E27FC236}">
                <a16:creationId xmlns:a16="http://schemas.microsoft.com/office/drawing/2014/main" id="{18C17D9C-45AB-4367-836E-A1998FC03524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12">
            <a:extLst>
              <a:ext uri="{FF2B5EF4-FFF2-40B4-BE49-F238E27FC236}">
                <a16:creationId xmlns:a16="http://schemas.microsoft.com/office/drawing/2014/main" id="{FB1A87D4-5917-4D6E-9FE6-2FDFEA6509FF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8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2865391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B_Title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2" hidden="1">
            <a:extLst>
              <a:ext uri="{FF2B5EF4-FFF2-40B4-BE49-F238E27FC236}">
                <a16:creationId xmlns:a16="http://schemas.microsoft.com/office/drawing/2014/main" id="{417B6F76-F90F-47A7-8355-649918A362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0244" name="Objekt 2" hidden="1">
                        <a:extLst>
                          <a:ext uri="{FF2B5EF4-FFF2-40B4-BE49-F238E27FC236}">
                            <a16:creationId xmlns:a16="http://schemas.microsoft.com/office/drawing/2014/main" id="{7DC2B402-3FF1-4EBF-B108-362D4DB53E6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" hidden="1">
            <a:extLst>
              <a:ext uri="{FF2B5EF4-FFF2-40B4-BE49-F238E27FC236}">
                <a16:creationId xmlns:a16="http://schemas.microsoft.com/office/drawing/2014/main" id="{52113D66-FC86-45A3-B537-BFE548B665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Bildplatzhalter 8">
            <a:extLst>
              <a:ext uri="{FF2B5EF4-FFF2-40B4-BE49-F238E27FC236}">
                <a16:creationId xmlns:a16="http://schemas.microsoft.com/office/drawing/2014/main" id="{EAFD792B-F576-4E00-8385-1C4CD117A9CA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2" r="3012"/>
          <a:stretch>
            <a:fillRect/>
          </a:stretch>
        </p:blipFill>
        <p:spPr bwMode="auto">
          <a:xfrm>
            <a:off x="4750594" y="1198960"/>
            <a:ext cx="3801666" cy="2696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50A665C-1FB1-48AB-93CF-8B6F18FF0B3F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1078707"/>
            <a:ext cx="4050506" cy="37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F22AB71-8D56-499B-AF68-7BF49BB520F2}"/>
              </a:ext>
            </a:extLst>
          </p:cNvPr>
          <p:cNvPicPr>
            <a:picLocks noChangeAspect="1" noChangeArrowheads="1"/>
          </p:cNvPicPr>
          <p:nvPr/>
        </p:nvPicPr>
        <p:blipFill>
          <a:blip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579" y="3651647"/>
            <a:ext cx="405050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6BA5127A-52BF-4581-8E52-8A6126076235}"/>
              </a:ext>
            </a:extLst>
          </p:cNvPr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258366" y="456010"/>
            <a:ext cx="2338388" cy="348853"/>
          </a:xfrm>
          <a:prstGeom prst="rect">
            <a:avLst/>
          </a:prstGeom>
        </p:spPr>
      </p:pic>
      <p:sp>
        <p:nvSpPr>
          <p:cNvPr id="16" name="Titel 24"/>
          <p:cNvSpPr>
            <a:spLocks noGrp="1"/>
          </p:cNvSpPr>
          <p:nvPr>
            <p:ph type="title"/>
          </p:nvPr>
        </p:nvSpPr>
        <p:spPr>
          <a:xfrm>
            <a:off x="250826" y="1059582"/>
            <a:ext cx="4160076" cy="553998"/>
          </a:xfrm>
        </p:spPr>
        <p:txBody>
          <a:bodyPr/>
          <a:lstStyle>
            <a:lvl1pPr>
              <a:defRPr sz="1800" b="1" i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2" name="Untertitel 2"/>
          <p:cNvSpPr>
            <a:spLocks noGrp="1"/>
          </p:cNvSpPr>
          <p:nvPr>
            <p:ph type="subTitle" idx="1"/>
          </p:nvPr>
        </p:nvSpPr>
        <p:spPr>
          <a:xfrm>
            <a:off x="251521" y="4371950"/>
            <a:ext cx="4160143" cy="15388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000" b="1">
                <a:solidFill>
                  <a:schemeClr val="tx2"/>
                </a:solidFill>
              </a:defRPr>
            </a:lvl1pPr>
            <a:lvl2pPr marL="422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GB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51521" y="1851026"/>
            <a:ext cx="4160143" cy="21711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67057" indent="0">
              <a:buNone/>
              <a:defRPr/>
            </a:lvl2pPr>
            <a:lvl3pPr marL="334116" indent="0">
              <a:buNone/>
              <a:defRPr/>
            </a:lvl3pPr>
            <a:lvl4pPr marL="501173" indent="0">
              <a:buNone/>
              <a:defRPr/>
            </a:lvl4pPr>
            <a:lvl5pPr marL="65944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0185694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4" hidden="1">
            <a:extLst>
              <a:ext uri="{FF2B5EF4-FFF2-40B4-BE49-F238E27FC236}">
                <a16:creationId xmlns:a16="http://schemas.microsoft.com/office/drawing/2014/main" id="{9EC1A4D0-D70A-4B2B-A307-1A52A76B1326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192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9B96EB1-BD06-49CE-9FCA-766A03C687D6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58354" cy="1583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b="1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Titelplatzhalter 1">
            <a:extLst>
              <a:ext uri="{FF2B5EF4-FFF2-40B4-BE49-F238E27FC236}">
                <a16:creationId xmlns:a16="http://schemas.microsoft.com/office/drawing/2014/main" id="{888E2B04-A10C-48A7-8B85-82101D85D1B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51222" y="446485"/>
            <a:ext cx="8639175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Click to edit Tagline</a:t>
            </a:r>
          </a:p>
        </p:txBody>
      </p:sp>
      <p:sp>
        <p:nvSpPr>
          <p:cNvPr id="10" name="Fußzeilenplatzhalter 5">
            <a:extLst>
              <a:ext uri="{FF2B5EF4-FFF2-40B4-BE49-F238E27FC236}">
                <a16:creationId xmlns:a16="http://schemas.microsoft.com/office/drawing/2014/main" id="{CE6D2A6E-ABD7-4505-9899-C5BEB13D7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43438" y="4931569"/>
            <a:ext cx="3933825" cy="14406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Foliennummernplatzhalter 6">
            <a:extLst>
              <a:ext uri="{FF2B5EF4-FFF2-40B4-BE49-F238E27FC236}">
                <a16:creationId xmlns:a16="http://schemas.microsoft.com/office/drawing/2014/main" id="{60CFD23F-1FB4-4CCB-80F4-29E1A111A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4648" y="4931569"/>
            <a:ext cx="288131" cy="14406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8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83AAA8A9-4489-40D2-BF42-BB14B8E7BCB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DEEB0A5-EF90-499A-BCC3-038A57AC5F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1223" y="1062038"/>
            <a:ext cx="8640365" cy="352544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</p:sldLayoutIdLst>
  <p:transition spd="med">
    <p:fade/>
  </p:transition>
  <p:hf hdr="0" ftr="0" dt="0"/>
  <p:txStyles>
    <p:titleStyle>
      <a:lvl1pPr algn="l" defTabSz="842963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2pPr>
      <a:lvl3pPr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3pPr>
      <a:lvl4pPr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4pPr>
      <a:lvl5pPr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5pPr>
      <a:lvl6pPr marL="342900"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6pPr>
      <a:lvl7pPr marL="685800"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7pPr>
      <a:lvl8pPr marL="1028700"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8pPr>
      <a:lvl9pPr marL="1371600" algn="l" defTabSz="842963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178594" indent="-178594" algn="l" defTabSz="842963" rtl="0" eaLnBrk="1" fontAlgn="base" hangingPunct="1">
        <a:spcBef>
          <a:spcPts val="300"/>
        </a:spcBef>
        <a:spcAft>
          <a:spcPct val="0"/>
        </a:spcAft>
        <a:buClr>
          <a:schemeClr val="tx2"/>
        </a:buClr>
        <a:buSzPct val="100000"/>
        <a:buFont typeface="Wingdings 2" panose="05020102010507070707" pitchFamily="18" charset="2"/>
        <a:buChar char=""/>
        <a:defRPr lang="en-GB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59569" indent="-192881" algn="l" defTabSz="842963" rtl="0" eaLnBrk="1" fontAlgn="base" hangingPunct="1">
        <a:spcBef>
          <a:spcPts val="3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−"/>
        <a:defRPr lang="en-GB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39354" indent="-178594" algn="l" defTabSz="842963" rtl="0" eaLnBrk="1" fontAlgn="base" hangingPunct="1">
        <a:spcBef>
          <a:spcPts val="300"/>
        </a:spcBef>
        <a:spcAft>
          <a:spcPct val="0"/>
        </a:spcAft>
        <a:buFont typeface="Arial" panose="020B0604020202020204" pitchFamily="34" charset="0"/>
        <a:buChar char="−"/>
        <a:defRPr lang="en-GB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17947" indent="-178594" algn="l" defTabSz="842963" rtl="0" eaLnBrk="1" fontAlgn="base" hangingPunct="1">
        <a:spcBef>
          <a:spcPts val="300"/>
        </a:spcBef>
        <a:spcAft>
          <a:spcPct val="0"/>
        </a:spcAft>
        <a:buFont typeface="Arial" panose="020B0604020202020204" pitchFamily="34" charset="0"/>
        <a:buChar char="−"/>
        <a:defRPr lang="en-GB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98922" indent="-179785" algn="l" defTabSz="842963" rtl="0" eaLnBrk="1" fontAlgn="base" hangingPunct="1">
        <a:spcBef>
          <a:spcPts val="300"/>
        </a:spcBef>
        <a:spcAft>
          <a:spcPct val="0"/>
        </a:spcAft>
        <a:buFont typeface="Arial" panose="020B0604020202020204" pitchFamily="34" charset="0"/>
        <a:buChar char="−"/>
        <a:defRPr lang="en-GB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42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3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6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6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9.vml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0.vml"/><Relationship Id="rId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1.vml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3ED827A7-A904-0B61-9DA5-D2F1FAAAA78A}"/>
              </a:ext>
            </a:extLst>
          </p:cNvPr>
          <p:cNvSpPr txBox="1"/>
          <p:nvPr/>
        </p:nvSpPr>
        <p:spPr>
          <a:xfrm>
            <a:off x="664233" y="80320"/>
            <a:ext cx="7940415" cy="380480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>
              <a:buClr>
                <a:schemeClr val="tx2"/>
              </a:buClr>
            </a:pPr>
            <a:r>
              <a:rPr lang="de-AT" sz="2000" b="1" dirty="0" smtClean="0">
                <a:solidFill>
                  <a:srgbClr val="FF0000"/>
                </a:solidFill>
                <a:highlight>
                  <a:srgbClr val="FFFF00"/>
                </a:highlight>
              </a:rPr>
              <a:t>Zeitplan </a:t>
            </a:r>
            <a:r>
              <a:rPr lang="de-AT" sz="2000" b="1" dirty="0">
                <a:solidFill>
                  <a:srgbClr val="FF0000"/>
                </a:solidFill>
                <a:highlight>
                  <a:srgbClr val="FFFF00"/>
                </a:highlight>
              </a:rPr>
              <a:t> (Stand: Dienstag, </a:t>
            </a:r>
            <a:r>
              <a:rPr lang="de-AT" sz="2000" b="1" dirty="0" smtClean="0">
                <a:solidFill>
                  <a:srgbClr val="FF0000"/>
                </a:solidFill>
                <a:highlight>
                  <a:srgbClr val="FFFF00"/>
                </a:highlight>
              </a:rPr>
              <a:t>2023-07-25)</a:t>
            </a:r>
            <a:endParaRPr lang="de-AT" sz="2000" b="1" dirty="0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ED31B0DA-E68F-EFD3-BD6B-7FDA55834C5A}"/>
              </a:ext>
            </a:extLst>
          </p:cNvPr>
          <p:cNvSpPr/>
          <p:nvPr/>
        </p:nvSpPr>
        <p:spPr>
          <a:xfrm>
            <a:off x="1010784" y="1031789"/>
            <a:ext cx="45719" cy="45719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AT" sz="14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3082CB0-CDBF-6266-3BCC-601ED18AB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B62D796-47BA-435D-B07F-ECAF072150B1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0873315"/>
              </p:ext>
            </p:extLst>
          </p:nvPr>
        </p:nvGraphicFramePr>
        <p:xfrm>
          <a:off x="664233" y="850301"/>
          <a:ext cx="7940415" cy="165608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2415397">
                  <a:extLst>
                    <a:ext uri="{9D8B030D-6E8A-4147-A177-3AD203B41FA5}">
                      <a16:colId xmlns:a16="http://schemas.microsoft.com/office/drawing/2014/main" val="2761076861"/>
                    </a:ext>
                  </a:extLst>
                </a:gridCol>
                <a:gridCol w="5525018">
                  <a:extLst>
                    <a:ext uri="{9D8B030D-6E8A-4147-A177-3AD203B41FA5}">
                      <a16:colId xmlns:a16="http://schemas.microsoft.com/office/drawing/2014/main" val="24599297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AT" sz="1200" dirty="0" smtClean="0"/>
                        <a:t>Datum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sz="1200" dirty="0" smtClean="0"/>
                        <a:t>Aktion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23984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AT" sz="1200" dirty="0" smtClean="0"/>
                        <a:t>2023-07-25 19:00 (Dienstag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sz="1200" dirty="0" smtClean="0"/>
                        <a:t>Persönliches Treffen am HP: Bericht </a:t>
                      </a:r>
                      <a:r>
                        <a:rPr lang="de-AT" sz="1200" baseline="0" dirty="0" smtClean="0"/>
                        <a:t>über die bis dahin eingelangten Angebote, weitere Vorgehensweise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71483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AT" sz="1200" dirty="0" smtClean="0"/>
                        <a:t>2023-08-16 19:00 (Mittwoch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sz="1200" dirty="0" smtClean="0"/>
                        <a:t>Persönliches Treffen am HP: Bericht über den Status,</a:t>
                      </a:r>
                      <a:r>
                        <a:rPr lang="de-AT" sz="1200" baseline="0" dirty="0" smtClean="0"/>
                        <a:t> wenn bereits möglich, Auswahl der neuen Hausverwaltung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51332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AT" sz="1200" dirty="0" smtClean="0"/>
                        <a:t>2023-09-04 19:00 (Montag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AT" sz="1200" dirty="0" smtClean="0"/>
                        <a:t>Persönliches Treffen am HP: Bericht über den Status,</a:t>
                      </a:r>
                      <a:r>
                        <a:rPr lang="de-AT" sz="1200" baseline="0" dirty="0" smtClean="0"/>
                        <a:t> weitere Vorgehensweise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92159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28533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ngebot „</a:t>
            </a:r>
            <a:r>
              <a:rPr lang="de-AT" dirty="0" err="1" smtClean="0"/>
              <a:t>SMT</a:t>
            </a:r>
            <a:r>
              <a:rPr lang="de-AT" dirty="0" smtClean="0"/>
              <a:t> Immo“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C93A48CA-DB42-40D3-88A7-D5D561A54B93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57411907"/>
              </p:ext>
            </p:extLst>
          </p:nvPr>
        </p:nvGraphicFramePr>
        <p:xfrm>
          <a:off x="1545836" y="1062113"/>
          <a:ext cx="5722937" cy="2933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Worksheet" r:id="rId3" imgW="5722428" imgH="2933805" progId="Excel.Sheet.12">
                  <p:embed/>
                </p:oleObj>
              </mc:Choice>
              <mc:Fallback>
                <p:oleObj name="Worksheet" r:id="rId3" imgW="5722428" imgH="293380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45836" y="1062113"/>
                        <a:ext cx="5722937" cy="29337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185278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ngebot „Profundus“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C93A48CA-DB42-40D3-88A7-D5D561A54B93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24247157"/>
              </p:ext>
            </p:extLst>
          </p:nvPr>
        </p:nvGraphicFramePr>
        <p:xfrm>
          <a:off x="1869693" y="1062113"/>
          <a:ext cx="5402263" cy="2751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Worksheet" r:id="rId3" imgW="5402358" imgH="2750767" progId="Excel.Sheet.12">
                  <p:embed/>
                </p:oleObj>
              </mc:Choice>
              <mc:Fallback>
                <p:oleObj name="Worksheet" r:id="rId3" imgW="5402358" imgH="275076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69693" y="1062113"/>
                        <a:ext cx="5402263" cy="2751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46894664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ngebot „Ludwig </a:t>
            </a:r>
            <a:r>
              <a:rPr lang="de-AT" dirty="0" err="1" smtClean="0"/>
              <a:t>Hallas</a:t>
            </a:r>
            <a:r>
              <a:rPr lang="de-AT" dirty="0" smtClean="0"/>
              <a:t>“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C93A48CA-DB42-40D3-88A7-D5D561A54B93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70919117"/>
              </p:ext>
            </p:extLst>
          </p:nvPr>
        </p:nvGraphicFramePr>
        <p:xfrm>
          <a:off x="1941925" y="1062113"/>
          <a:ext cx="5257800" cy="22018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Worksheet" r:id="rId3" imgW="5257948" imgH="2202127" progId="Excel.Sheet.12">
                  <p:embed/>
                </p:oleObj>
              </mc:Choice>
              <mc:Fallback>
                <p:oleObj name="Worksheet" r:id="rId3" imgW="5257948" imgH="220212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41925" y="1062113"/>
                        <a:ext cx="5257800" cy="22018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20281519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ngebot „Otto Friedrich Immobilien“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C93A48CA-DB42-40D3-88A7-D5D561A54B93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31012342"/>
              </p:ext>
            </p:extLst>
          </p:nvPr>
        </p:nvGraphicFramePr>
        <p:xfrm>
          <a:off x="1941925" y="1062113"/>
          <a:ext cx="5257800" cy="2384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Worksheet" r:id="rId3" imgW="5257948" imgH="2385165" progId="Excel.Sheet.12">
                  <p:embed/>
                </p:oleObj>
              </mc:Choice>
              <mc:Fallback>
                <p:oleObj name="Worksheet" r:id="rId3" imgW="5257948" imgH="238516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41925" y="1062113"/>
                        <a:ext cx="5257800" cy="23844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52771972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3ED827A7-A904-0B61-9DA5-D2F1FAAAA78A}"/>
              </a:ext>
            </a:extLst>
          </p:cNvPr>
          <p:cNvSpPr txBox="1"/>
          <p:nvPr/>
        </p:nvSpPr>
        <p:spPr>
          <a:xfrm>
            <a:off x="524155" y="80320"/>
            <a:ext cx="7940413" cy="380480"/>
          </a:xfrm>
          <a:prstGeom prst="rect">
            <a:avLst/>
          </a:prstGeom>
          <a:noFill/>
        </p:spPr>
        <p:txBody>
          <a:bodyPr wrap="square" lIns="72000" tIns="36000" rIns="72000" bIns="36000" rtlCol="0">
            <a:spAutoFit/>
          </a:bodyPr>
          <a:lstStyle/>
          <a:p>
            <a:pPr>
              <a:buClr>
                <a:schemeClr val="tx2"/>
              </a:buClr>
            </a:pPr>
            <a:r>
              <a:rPr lang="de-AT" sz="2000" b="1" dirty="0" smtClean="0">
                <a:solidFill>
                  <a:srgbClr val="FF0000"/>
                </a:solidFill>
                <a:highlight>
                  <a:srgbClr val="FFFF00"/>
                </a:highlight>
              </a:rPr>
              <a:t>Stand: Dienstag, 2023-07-25</a:t>
            </a:r>
            <a:endParaRPr lang="de-AT" sz="2000" b="1" dirty="0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ED31B0DA-E68F-EFD3-BD6B-7FDA55834C5A}"/>
              </a:ext>
            </a:extLst>
          </p:cNvPr>
          <p:cNvSpPr/>
          <p:nvPr/>
        </p:nvSpPr>
        <p:spPr>
          <a:xfrm>
            <a:off x="1010784" y="1031789"/>
            <a:ext cx="45719" cy="45719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de-AT" sz="1400" dirty="0" err="1">
              <a:solidFill>
                <a:schemeClr val="tx1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3082CB0-CDBF-6266-3BCC-601ED18AB3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B62D796-47BA-435D-B07F-ECAF072150B1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5504417"/>
              </p:ext>
            </p:extLst>
          </p:nvPr>
        </p:nvGraphicFramePr>
        <p:xfrm>
          <a:off x="524155" y="694622"/>
          <a:ext cx="7940413" cy="417576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502388">
                  <a:extLst>
                    <a:ext uri="{9D8B030D-6E8A-4147-A177-3AD203B41FA5}">
                      <a16:colId xmlns:a16="http://schemas.microsoft.com/office/drawing/2014/main" val="2761076861"/>
                    </a:ext>
                  </a:extLst>
                </a:gridCol>
                <a:gridCol w="802257">
                  <a:extLst>
                    <a:ext uri="{9D8B030D-6E8A-4147-A177-3AD203B41FA5}">
                      <a16:colId xmlns:a16="http://schemas.microsoft.com/office/drawing/2014/main" val="177122153"/>
                    </a:ext>
                  </a:extLst>
                </a:gridCol>
                <a:gridCol w="1958196">
                  <a:extLst>
                    <a:ext uri="{9D8B030D-6E8A-4147-A177-3AD203B41FA5}">
                      <a16:colId xmlns:a16="http://schemas.microsoft.com/office/drawing/2014/main" val="2584890113"/>
                    </a:ext>
                  </a:extLst>
                </a:gridCol>
                <a:gridCol w="931653">
                  <a:extLst>
                    <a:ext uri="{9D8B030D-6E8A-4147-A177-3AD203B41FA5}">
                      <a16:colId xmlns:a16="http://schemas.microsoft.com/office/drawing/2014/main" val="1536305026"/>
                    </a:ext>
                  </a:extLst>
                </a:gridCol>
                <a:gridCol w="2622430">
                  <a:extLst>
                    <a:ext uri="{9D8B030D-6E8A-4147-A177-3AD203B41FA5}">
                      <a16:colId xmlns:a16="http://schemas.microsoft.com/office/drawing/2014/main" val="3735535303"/>
                    </a:ext>
                  </a:extLst>
                </a:gridCol>
                <a:gridCol w="1123489">
                  <a:extLst>
                    <a:ext uri="{9D8B030D-6E8A-4147-A177-3AD203B41FA5}">
                      <a16:colId xmlns:a16="http://schemas.microsoft.com/office/drawing/2014/main" val="24599297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um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de-AT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orschlag</a:t>
                      </a:r>
                      <a:r>
                        <a:rPr lang="de-AT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/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me der 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usverwaltung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eressiert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23984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3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G 14, ? (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wurf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Weinberger GmbH &amp;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K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21902276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5.2023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P </a:t>
                      </a:r>
                      <a:r>
                        <a:rPr lang="de-DE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7</a:t>
                      </a:r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atscher  via Pachl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Hallas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26632116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3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P </a:t>
                      </a:r>
                      <a:r>
                        <a:rPr lang="de-DE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7</a:t>
                      </a:r>
                      <a:r>
                        <a:rPr lang="de-DE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atscher via Heinisch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 Faltl &amp; Krisch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AT" sz="1200" b="0" i="0" u="none" strike="noStrike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  <a:p>
                      <a:pPr algn="ctr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4492845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3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P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14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nn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 Pristusek &amp; Partner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28375430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6.2023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G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17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Urba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U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moblienkanzlei Dr. Robert Wagner GmbH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4835659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05.06.2023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200" b="0" i="1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HP </a:t>
                      </a:r>
                      <a:r>
                        <a:rPr lang="de-DE" sz="1200" b="0" i="1" u="none" strike="noStrike" dirty="0" err="1" smtClean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T3</a:t>
                      </a:r>
                      <a:r>
                        <a:rPr lang="de-DE" sz="1200" b="0" i="1" u="none" strike="noStrike" dirty="0" smtClean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de-DE" sz="1200" b="0" i="1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Schindler, Robert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MU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1" u="none" strike="noStrike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Otto Fridrich &amp; Partner GmbH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 dirty="0">
                          <a:solidFill>
                            <a:srgbClr val="375623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12373524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9.06.2023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a-DK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HP </a:t>
                      </a:r>
                      <a:r>
                        <a:rPr lang="da-DK" sz="1200" b="0" i="0" u="none" strike="noStrike" dirty="0" smtClean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19 Ulz, T21 Vogler </a:t>
                      </a:r>
                      <a:r>
                        <a:rPr lang="da-DK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.6.2023 (IMMY 2017-2022)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 kern="12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U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de-DE" sz="1200" b="0" i="0" u="none" strike="noStrike" dirty="0" err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HV</a:t>
                      </a:r>
                      <a:r>
                        <a:rPr lang="de-DE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de-DE" sz="1200" b="0" i="0" u="none" strike="noStrike" dirty="0" err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Sabo+Mandl</a:t>
                      </a:r>
                      <a:r>
                        <a:rPr lang="de-DE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&amp; </a:t>
                      </a:r>
                      <a:r>
                        <a:rPr lang="de-DE" sz="1200" b="0" i="0" u="none" strike="noStrike" dirty="0" err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omaschek</a:t>
                      </a:r>
                      <a:r>
                        <a:rPr lang="de-DE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Immobilien GmbH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37478481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6.2023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P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13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orescu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U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 Profundus Verwalt. GmbH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19171483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6.2023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G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9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uzmits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ia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llege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K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V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urator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moblientreuhandGmbH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9351332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t"/>
                      <a:endParaRPr lang="en-US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6.2023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P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17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chaff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K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mobilienverw.GmbH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AT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  <a:p>
                      <a:pPr algn="ctr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/>
                </a:tc>
                <a:extLst>
                  <a:ext uri="{0D108BD9-81ED-4DB2-BD59-A6C34878D82A}">
                    <a16:rowId xmlns:a16="http://schemas.microsoft.com/office/drawing/2014/main" val="9292159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96242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UuyvNbY_FoHPG4AVx6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Sp3SakDBPo4EuBtkqx6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Tj5aIPoVjFXcyI5XEQ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UZFRso9H0n3DK8qlvc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DhfnAO8QlByZY05JF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Ec9BLqKNhYGIIGSY_Ne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Kyq_ufDQHiHXUdHVPI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P2nKuN8sP8Oh5EVqRW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lAM4BrIq87DscbxqHa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AV1E5_MjjxTbiS2oSqm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Ic6h1Gfr4zE5ICCfMy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mfS_TEMlQCtDYbhKHHA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qXwvdS8PqaleaQ4v_h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0Zw6OZr6gStQ6b1Wp8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Bn3ePpdz6L6LFHZZBe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xeMd0X0RMcnVgMrct2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cFGeudofVjUfSWm95D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-extended">
  <a:themeElements>
    <a:clrScheme name="KnorrNeu2">
      <a:dk1>
        <a:sysClr val="windowText" lastClr="000000"/>
      </a:dk1>
      <a:lt1>
        <a:srgbClr val="FFFFFF"/>
      </a:lt1>
      <a:dk2>
        <a:srgbClr val="00457E"/>
      </a:dk2>
      <a:lt2>
        <a:srgbClr val="D8DCE5"/>
      </a:lt2>
      <a:accent1>
        <a:srgbClr val="3F7AB6"/>
      </a:accent1>
      <a:accent2>
        <a:srgbClr val="9CB0BF"/>
      </a:accent2>
      <a:accent3>
        <a:srgbClr val="DA931A"/>
      </a:accent3>
      <a:accent4>
        <a:srgbClr val="B7C72A"/>
      </a:accent4>
      <a:accent5>
        <a:srgbClr val="C1001F"/>
      </a:accent5>
      <a:accent6>
        <a:srgbClr val="00B5E2"/>
      </a:accent6>
      <a:hlink>
        <a:srgbClr val="95A0B9"/>
      </a:hlink>
      <a:folHlink>
        <a:srgbClr val="465C6D"/>
      </a:folHlink>
    </a:clrScheme>
    <a:fontScheme name="KB_201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noFill/>
        </a:ln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36000" rIns="72000" bIns="36000" rtlCol="0">
        <a:spAutoFit/>
      </a:bodyPr>
      <a:lstStyle>
        <a:defPPr marL="177800" indent="-177800" algn="l">
          <a:buClr>
            <a:schemeClr val="tx2"/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A48211CC-A0A3-4BEF-9049-B3997DB14682}" vid="{1E16DEBE-1FD5-43E9-A25E-8DEE4CB54F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38</Words>
  <Application>Microsoft Office PowerPoint</Application>
  <PresentationFormat>On-screen Show (16:9)</PresentationFormat>
  <Paragraphs>78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Wingdings 2</vt:lpstr>
      <vt:lpstr>Theme1-extended</vt:lpstr>
      <vt:lpstr>think-cell Slide</vt:lpstr>
      <vt:lpstr>Microsoft Excel Worksheet</vt:lpstr>
      <vt:lpstr>PowerPoint Presentation</vt:lpstr>
      <vt:lpstr>Angebot „SMT Immo“</vt:lpstr>
      <vt:lpstr>Angebot „Profundus“</vt:lpstr>
      <vt:lpstr>Angebot „Ludwig Hallas“</vt:lpstr>
      <vt:lpstr>Angebot „Otto Friedrich Immobilien“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Urban, Markus</dc:creator>
  <cp:lastModifiedBy>wi</cp:lastModifiedBy>
  <cp:revision>95</cp:revision>
  <dcterms:created xsi:type="dcterms:W3CDTF">2023-03-15T07:26:42Z</dcterms:created>
  <dcterms:modified xsi:type="dcterms:W3CDTF">2023-07-25T15:30:11Z</dcterms:modified>
</cp:coreProperties>
</file>